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ags/tag4.xml" ContentType="application/vnd.openxmlformats-officedocument.presentationml.tags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  <p:sldId id="260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103" d="100"/>
          <a:sy n="103" d="100"/>
        </p:scale>
        <p:origin x="-104" y="-4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3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printerSettings" Target="printerSettings/printerSettings1.bin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HAE (Jonas Hauschildt Andersen)" userId="1063ffd9-f9e4-41d4-aef8-51079d115919" providerId="ADAL" clId="{D2F4E895-C39D-4245-86FB-0CC5A3F90C1D}"/>
    <pc:docChg chg="undo custSel modSld modMainMaster">
      <pc:chgData name="JHAE (Jonas Hauschildt Andersen)" userId="1063ffd9-f9e4-41d4-aef8-51079d115919" providerId="ADAL" clId="{D2F4E895-C39D-4245-86FB-0CC5A3F90C1D}" dt="2019-10-20T08:37:12.390" v="950" actId="404"/>
      <pc:docMkLst>
        <pc:docMk/>
      </pc:docMkLst>
      <pc:sldChg chg="addSp modSp">
        <pc:chgData name="JHAE (Jonas Hauschildt Andersen)" userId="1063ffd9-f9e4-41d4-aef8-51079d115919" providerId="ADAL" clId="{D2F4E895-C39D-4245-86FB-0CC5A3F90C1D}" dt="2019-10-20T08:35:32.882" v="946"/>
        <pc:sldMkLst>
          <pc:docMk/>
          <pc:sldMk cId="2588163436" sldId="259"/>
        </pc:sldMkLst>
        <pc:spChg chg="mod">
          <ac:chgData name="JHAE (Jonas Hauschildt Andersen)" userId="1063ffd9-f9e4-41d4-aef8-51079d115919" providerId="ADAL" clId="{D2F4E895-C39D-4245-86FB-0CC5A3F90C1D}" dt="2019-10-20T08:13:49.113" v="5" actId="403"/>
          <ac:spMkLst>
            <pc:docMk/>
            <pc:sldMk cId="2588163436" sldId="259"/>
            <ac:spMk id="3" creationId="{32DCC025-D59F-4502-BB8B-94022A6B8EEB}"/>
          </ac:spMkLst>
        </pc:spChg>
        <pc:spChg chg="mod">
          <ac:chgData name="JHAE (Jonas Hauschildt Andersen)" userId="1063ffd9-f9e4-41d4-aef8-51079d115919" providerId="ADAL" clId="{D2F4E895-C39D-4245-86FB-0CC5A3F90C1D}" dt="2019-10-20T08:13:35.605" v="2" actId="404"/>
          <ac:spMkLst>
            <pc:docMk/>
            <pc:sldMk cId="2588163436" sldId="259"/>
            <ac:spMk id="4" creationId="{9B63E0D4-EC35-4F1A-A6E4-641676384466}"/>
          </ac:spMkLst>
        </pc:spChg>
        <pc:spChg chg="mod">
          <ac:chgData name="JHAE (Jonas Hauschildt Andersen)" userId="1063ffd9-f9e4-41d4-aef8-51079d115919" providerId="ADAL" clId="{D2F4E895-C39D-4245-86FB-0CC5A3F90C1D}" dt="2019-10-20T08:13:53.814" v="6" actId="404"/>
          <ac:spMkLst>
            <pc:docMk/>
            <pc:sldMk cId="2588163436" sldId="259"/>
            <ac:spMk id="5" creationId="{93E60D80-B622-4C30-ACD3-75721B62CCFD}"/>
          </ac:spMkLst>
        </pc:spChg>
        <pc:spChg chg="mod">
          <ac:chgData name="JHAE (Jonas Hauschildt Andersen)" userId="1063ffd9-f9e4-41d4-aef8-51079d115919" providerId="ADAL" clId="{D2F4E895-C39D-4245-86FB-0CC5A3F90C1D}" dt="2019-10-20T08:32:17.212" v="772" actId="1035"/>
          <ac:spMkLst>
            <pc:docMk/>
            <pc:sldMk cId="2588163436" sldId="259"/>
            <ac:spMk id="6" creationId="{CD995B05-EC0D-47EB-8EF3-6BE25045837B}"/>
          </ac:spMkLst>
        </pc:spChg>
        <pc:spChg chg="mod">
          <ac:chgData name="JHAE (Jonas Hauschildt Andersen)" userId="1063ffd9-f9e4-41d4-aef8-51079d115919" providerId="ADAL" clId="{D2F4E895-C39D-4245-86FB-0CC5A3F90C1D}" dt="2019-10-20T08:28:31.806" v="510" actId="1036"/>
          <ac:spMkLst>
            <pc:docMk/>
            <pc:sldMk cId="2588163436" sldId="259"/>
            <ac:spMk id="7" creationId="{9352954E-F7CA-466E-9B7A-38F723224129}"/>
          </ac:spMkLst>
        </pc:spChg>
        <pc:spChg chg="add mod">
          <ac:chgData name="JHAE (Jonas Hauschildt Andersen)" userId="1063ffd9-f9e4-41d4-aef8-51079d115919" providerId="ADAL" clId="{D2F4E895-C39D-4245-86FB-0CC5A3F90C1D}" dt="2019-10-20T08:28:51.408" v="562" actId="1038"/>
          <ac:spMkLst>
            <pc:docMk/>
            <pc:sldMk cId="2588163436" sldId="259"/>
            <ac:spMk id="9" creationId="{4031993A-A90F-4917-A07A-5BCDCCA7170E}"/>
          </ac:spMkLst>
        </pc:spChg>
        <pc:spChg chg="add mod">
          <ac:chgData name="JHAE (Jonas Hauschildt Andersen)" userId="1063ffd9-f9e4-41d4-aef8-51079d115919" providerId="ADAL" clId="{D2F4E895-C39D-4245-86FB-0CC5A3F90C1D}" dt="2019-10-20T08:32:30.334" v="833" actId="14100"/>
          <ac:spMkLst>
            <pc:docMk/>
            <pc:sldMk cId="2588163436" sldId="259"/>
            <ac:spMk id="10" creationId="{3F1618D5-19AC-4262-9FA0-B7787C7D5480}"/>
          </ac:spMkLst>
        </pc:spChg>
        <pc:spChg chg="add mod">
          <ac:chgData name="JHAE (Jonas Hauschildt Andersen)" userId="1063ffd9-f9e4-41d4-aef8-51079d115919" providerId="ADAL" clId="{D2F4E895-C39D-4245-86FB-0CC5A3F90C1D}" dt="2019-10-20T08:35:32.882" v="946"/>
          <ac:spMkLst>
            <pc:docMk/>
            <pc:sldMk cId="2588163436" sldId="259"/>
            <ac:spMk id="11" creationId="{CAAAE728-2FD5-4377-A471-615FAFEE07B9}"/>
          </ac:spMkLst>
        </pc:spChg>
      </pc:sldChg>
      <pc:sldChg chg="addSp modSp">
        <pc:chgData name="JHAE (Jonas Hauschildt Andersen)" userId="1063ffd9-f9e4-41d4-aef8-51079d115919" providerId="ADAL" clId="{D2F4E895-C39D-4245-86FB-0CC5A3F90C1D}" dt="2019-10-20T08:31:22.828" v="745" actId="20577"/>
        <pc:sldMkLst>
          <pc:docMk/>
          <pc:sldMk cId="1089869312" sldId="260"/>
        </pc:sldMkLst>
        <pc:spChg chg="mod">
          <ac:chgData name="JHAE (Jonas Hauschildt Andersen)" userId="1063ffd9-f9e4-41d4-aef8-51079d115919" providerId="ADAL" clId="{D2F4E895-C39D-4245-86FB-0CC5A3F90C1D}" dt="2019-10-20T08:27:09.143" v="494" actId="27636"/>
          <ac:spMkLst>
            <pc:docMk/>
            <pc:sldMk cId="1089869312" sldId="260"/>
            <ac:spMk id="3" creationId="{039C5902-E436-4858-9EA0-C33860D0843D}"/>
          </ac:spMkLst>
        </pc:spChg>
        <pc:spChg chg="mod">
          <ac:chgData name="JHAE (Jonas Hauschildt Andersen)" userId="1063ffd9-f9e4-41d4-aef8-51079d115919" providerId="ADAL" clId="{D2F4E895-C39D-4245-86FB-0CC5A3F90C1D}" dt="2019-10-20T08:29:58.315" v="570" actId="6549"/>
          <ac:spMkLst>
            <pc:docMk/>
            <pc:sldMk cId="1089869312" sldId="260"/>
            <ac:spMk id="6" creationId="{3E7B737B-67C8-4DEE-82A5-74E649CE1BBA}"/>
          </ac:spMkLst>
        </pc:spChg>
        <pc:spChg chg="add mod">
          <ac:chgData name="JHAE (Jonas Hauschildt Andersen)" userId="1063ffd9-f9e4-41d4-aef8-51079d115919" providerId="ADAL" clId="{D2F4E895-C39D-4245-86FB-0CC5A3F90C1D}" dt="2019-10-20T08:31:22.828" v="745" actId="20577"/>
          <ac:spMkLst>
            <pc:docMk/>
            <pc:sldMk cId="1089869312" sldId="260"/>
            <ac:spMk id="11" creationId="{1123449B-03F6-41C9-89F3-B376A9B98613}"/>
          </ac:spMkLst>
        </pc:spChg>
      </pc:sldChg>
      <pc:sldMasterChg chg="delSldLayout modSldLayout">
        <pc:chgData name="JHAE (Jonas Hauschildt Andersen)" userId="1063ffd9-f9e4-41d4-aef8-51079d115919" providerId="ADAL" clId="{D2F4E895-C39D-4245-86FB-0CC5A3F90C1D}" dt="2019-10-20T08:37:12.390" v="950" actId="404"/>
        <pc:sldMasterMkLst>
          <pc:docMk/>
          <pc:sldMasterMk cId="0" sldId="2147483648"/>
        </pc:sldMasterMkLst>
        <pc:sldLayoutChg chg="addSp delSp modSp">
          <pc:chgData name="JHAE (Jonas Hauschildt Andersen)" userId="1063ffd9-f9e4-41d4-aef8-51079d115919" providerId="ADAL" clId="{D2F4E895-C39D-4245-86FB-0CC5A3F90C1D}" dt="2019-10-20T08:37:12.390" v="950" actId="404"/>
          <pc:sldLayoutMkLst>
            <pc:docMk/>
            <pc:sldMasterMk cId="0" sldId="2147483648"/>
            <pc:sldLayoutMk cId="0" sldId="2147483655"/>
          </pc:sldLayoutMkLst>
          <pc:spChg chg="add del">
            <ac:chgData name="JHAE (Jonas Hauschildt Andersen)" userId="1063ffd9-f9e4-41d4-aef8-51079d115919" providerId="ADAL" clId="{D2F4E895-C39D-4245-86FB-0CC5A3F90C1D}" dt="2019-10-20T08:33:05.619" v="834" actId="11529"/>
            <ac:spMkLst>
              <pc:docMk/>
              <pc:sldMasterMk cId="0" sldId="2147483648"/>
              <pc:sldLayoutMk cId="0" sldId="2147483655"/>
              <ac:spMk id="2" creationId="{83855CA9-3C6F-4556-A459-77294672431C}"/>
            </ac:spMkLst>
          </pc:spChg>
          <pc:spChg chg="add mod">
            <ac:chgData name="JHAE (Jonas Hauschildt Andersen)" userId="1063ffd9-f9e4-41d4-aef8-51079d115919" providerId="ADAL" clId="{D2F4E895-C39D-4245-86FB-0CC5A3F90C1D}" dt="2019-10-20T08:37:12.390" v="950" actId="404"/>
            <ac:spMkLst>
              <pc:docMk/>
              <pc:sldMasterMk cId="0" sldId="2147483648"/>
              <pc:sldLayoutMk cId="0" sldId="2147483655"/>
              <ac:spMk id="3" creationId="{C0D8DDA8-69A3-46B7-8662-DBB231095ABD}"/>
            </ac:spMkLst>
          </pc:spChg>
          <pc:spChg chg="add del">
            <ac:chgData name="JHAE (Jonas Hauschildt Andersen)" userId="1063ffd9-f9e4-41d4-aef8-51079d115919" providerId="ADAL" clId="{D2F4E895-C39D-4245-86FB-0CC5A3F90C1D}" dt="2019-10-20T08:34:38.823" v="880" actId="11529"/>
            <ac:spMkLst>
              <pc:docMk/>
              <pc:sldMasterMk cId="0" sldId="2147483648"/>
              <pc:sldLayoutMk cId="0" sldId="2147483655"/>
              <ac:spMk id="4" creationId="{E95DA671-2FF4-4088-A499-D03A82662C03}"/>
            </ac:spMkLst>
          </pc:spChg>
          <pc:spChg chg="add del mod">
            <ac:chgData name="JHAE (Jonas Hauschildt Andersen)" userId="1063ffd9-f9e4-41d4-aef8-51079d115919" providerId="ADAL" clId="{D2F4E895-C39D-4245-86FB-0CC5A3F90C1D}" dt="2019-10-20T08:36:58.033" v="948" actId="478"/>
            <ac:spMkLst>
              <pc:docMk/>
              <pc:sldMasterMk cId="0" sldId="2147483648"/>
              <pc:sldLayoutMk cId="0" sldId="2147483655"/>
              <ac:spMk id="9" creationId="{6669BDB3-55DB-4839-8805-B7E0C8863537}"/>
            </ac:spMkLst>
          </pc:spChg>
          <pc:spChg chg="mod">
            <ac:chgData name="JHAE (Jonas Hauschildt Andersen)" userId="1063ffd9-f9e4-41d4-aef8-51079d115919" providerId="ADAL" clId="{D2F4E895-C39D-4245-86FB-0CC5A3F90C1D}" dt="2019-10-20T08:27:09.005" v="493" actId="14100"/>
            <ac:spMkLst>
              <pc:docMk/>
              <pc:sldMasterMk cId="0" sldId="2147483648"/>
              <pc:sldLayoutMk cId="0" sldId="2147483655"/>
              <ac:spMk id="12" creationId="{3BABF9A6-83D8-4508-9CE7-1DE221F3EB19}"/>
            </ac:spMkLst>
          </pc:spChg>
          <pc:spChg chg="mod">
            <ac:chgData name="JHAE (Jonas Hauschildt Andersen)" userId="1063ffd9-f9e4-41d4-aef8-51079d115919" providerId="ADAL" clId="{D2F4E895-C39D-4245-86FB-0CC5A3F90C1D}" dt="2019-10-20T08:22:44.282" v="324" actId="14100"/>
            <ac:spMkLst>
              <pc:docMk/>
              <pc:sldMasterMk cId="0" sldId="2147483648"/>
              <pc:sldLayoutMk cId="0" sldId="2147483655"/>
              <ac:spMk id="26" creationId="{76809944-5025-42DA-9C57-510D463F97FB}"/>
            </ac:spMkLst>
          </pc:spChg>
          <pc:spChg chg="mod">
            <ac:chgData name="JHAE (Jonas Hauschildt Andersen)" userId="1063ffd9-f9e4-41d4-aef8-51079d115919" providerId="ADAL" clId="{D2F4E895-C39D-4245-86FB-0CC5A3F90C1D}" dt="2019-10-20T08:17:43.450" v="98" actId="1035"/>
            <ac:spMkLst>
              <pc:docMk/>
              <pc:sldMasterMk cId="0" sldId="2147483648"/>
              <pc:sldLayoutMk cId="0" sldId="2147483655"/>
              <ac:spMk id="27" creationId="{8A7EBD15-3710-4757-8C7C-4E8D2DAB9C03}"/>
            </ac:spMkLst>
          </pc:spChg>
          <pc:spChg chg="mod">
            <ac:chgData name="JHAE (Jonas Hauschildt Andersen)" userId="1063ffd9-f9e4-41d4-aef8-51079d115919" providerId="ADAL" clId="{D2F4E895-C39D-4245-86FB-0CC5A3F90C1D}" dt="2019-10-20T08:22:50.124" v="336" actId="1035"/>
            <ac:spMkLst>
              <pc:docMk/>
              <pc:sldMasterMk cId="0" sldId="2147483648"/>
              <pc:sldLayoutMk cId="0" sldId="2147483655"/>
              <ac:spMk id="28" creationId="{FA676990-17C5-4C35-A28A-5D4506BCA71C}"/>
            </ac:spMkLst>
          </pc:spChg>
          <pc:spChg chg="mod">
            <ac:chgData name="JHAE (Jonas Hauschildt Andersen)" userId="1063ffd9-f9e4-41d4-aef8-51079d115919" providerId="ADAL" clId="{D2F4E895-C39D-4245-86FB-0CC5A3F90C1D}" dt="2019-10-20T08:26:46.466" v="476" actId="14100"/>
            <ac:spMkLst>
              <pc:docMk/>
              <pc:sldMasterMk cId="0" sldId="2147483648"/>
              <pc:sldLayoutMk cId="0" sldId="2147483655"/>
              <ac:spMk id="30" creationId="{105AF334-8E54-4378-B1F2-54A01738B252}"/>
            </ac:spMkLst>
          </pc:spChg>
          <pc:spChg chg="mod">
            <ac:chgData name="JHAE (Jonas Hauschildt Andersen)" userId="1063ffd9-f9e4-41d4-aef8-51079d115919" providerId="ADAL" clId="{D2F4E895-C39D-4245-86FB-0CC5A3F90C1D}" dt="2019-10-20T08:26:50.587" v="491" actId="1035"/>
            <ac:spMkLst>
              <pc:docMk/>
              <pc:sldMasterMk cId="0" sldId="2147483648"/>
              <pc:sldLayoutMk cId="0" sldId="2147483655"/>
              <ac:spMk id="31" creationId="{4F4696E6-14D8-40D7-8BCD-63944E57845D}"/>
            </ac:spMkLst>
          </pc:spChg>
          <pc:spChg chg="mod">
            <ac:chgData name="JHAE (Jonas Hauschildt Andersen)" userId="1063ffd9-f9e4-41d4-aef8-51079d115919" providerId="ADAL" clId="{D2F4E895-C39D-4245-86FB-0CC5A3F90C1D}" dt="2019-10-20T08:32:05.799" v="768" actId="14100"/>
            <ac:spMkLst>
              <pc:docMk/>
              <pc:sldMasterMk cId="0" sldId="2147483648"/>
              <pc:sldLayoutMk cId="0" sldId="2147483655"/>
              <ac:spMk id="33" creationId="{9DD379DD-8B52-4D3C-8DA8-30FF67B67868}"/>
            </ac:spMkLst>
          </pc:spChg>
          <pc:spChg chg="mod">
            <ac:chgData name="JHAE (Jonas Hauschildt Andersen)" userId="1063ffd9-f9e4-41d4-aef8-51079d115919" providerId="ADAL" clId="{D2F4E895-C39D-4245-86FB-0CC5A3F90C1D}" dt="2019-10-20T08:25:07.697" v="438" actId="1035"/>
            <ac:spMkLst>
              <pc:docMk/>
              <pc:sldMasterMk cId="0" sldId="2147483648"/>
              <pc:sldLayoutMk cId="0" sldId="2147483655"/>
              <ac:spMk id="34" creationId="{BA657FF5-98BF-4287-B350-A09B4B1464E6}"/>
            </ac:spMkLst>
          </pc:spChg>
          <pc:spChg chg="mod">
            <ac:chgData name="JHAE (Jonas Hauschildt Andersen)" userId="1063ffd9-f9e4-41d4-aef8-51079d115919" providerId="ADAL" clId="{D2F4E895-C39D-4245-86FB-0CC5A3F90C1D}" dt="2019-10-20T08:23:50.515" v="405" actId="1036"/>
            <ac:spMkLst>
              <pc:docMk/>
              <pc:sldMasterMk cId="0" sldId="2147483648"/>
              <pc:sldLayoutMk cId="0" sldId="2147483655"/>
              <ac:spMk id="35" creationId="{5D2D096C-EA8D-4ADC-ADDF-D6B0AA90BB65}"/>
            </ac:spMkLst>
          </pc:spChg>
          <pc:spChg chg="mod">
            <ac:chgData name="JHAE (Jonas Hauschildt Andersen)" userId="1063ffd9-f9e4-41d4-aef8-51079d115919" providerId="ADAL" clId="{D2F4E895-C39D-4245-86FB-0CC5A3F90C1D}" dt="2019-10-20T08:23:59.544" v="423" actId="1035"/>
            <ac:spMkLst>
              <pc:docMk/>
              <pc:sldMasterMk cId="0" sldId="2147483648"/>
              <pc:sldLayoutMk cId="0" sldId="2147483655"/>
              <ac:spMk id="36" creationId="{6D8799E4-234A-419C-A00C-FBB2E0E31666}"/>
            </ac:spMkLst>
          </pc:spChg>
          <pc:spChg chg="mod">
            <ac:chgData name="JHAE (Jonas Hauschildt Andersen)" userId="1063ffd9-f9e4-41d4-aef8-51079d115919" providerId="ADAL" clId="{D2F4E895-C39D-4245-86FB-0CC5A3F90C1D}" dt="2019-10-20T08:22:37.343" v="323" actId="14100"/>
            <ac:spMkLst>
              <pc:docMk/>
              <pc:sldMasterMk cId="0" sldId="2147483648"/>
              <pc:sldLayoutMk cId="0" sldId="2147483655"/>
              <ac:spMk id="37" creationId="{55541198-DC5D-4E2E-839E-4AC769E6A32B}"/>
            </ac:spMkLst>
          </pc:spChg>
          <pc:spChg chg="mod">
            <ac:chgData name="JHAE (Jonas Hauschildt Andersen)" userId="1063ffd9-f9e4-41d4-aef8-51079d115919" providerId="ADAL" clId="{D2F4E895-C39D-4245-86FB-0CC5A3F90C1D}" dt="2019-10-20T08:27:04.568" v="492" actId="14100"/>
            <ac:spMkLst>
              <pc:docMk/>
              <pc:sldMasterMk cId="0" sldId="2147483648"/>
              <pc:sldLayoutMk cId="0" sldId="2147483655"/>
              <ac:spMk id="38" creationId="{3F3262FC-B2A2-4BA4-9983-F5C36EFFDBAE}"/>
            </ac:spMkLst>
          </pc:spChg>
          <pc:spChg chg="mod">
            <ac:chgData name="JHAE (Jonas Hauschildt Andersen)" userId="1063ffd9-f9e4-41d4-aef8-51079d115919" providerId="ADAL" clId="{D2F4E895-C39D-4245-86FB-0CC5A3F90C1D}" dt="2019-10-20T08:26:43.115" v="475" actId="14100"/>
            <ac:spMkLst>
              <pc:docMk/>
              <pc:sldMasterMk cId="0" sldId="2147483648"/>
              <pc:sldLayoutMk cId="0" sldId="2147483655"/>
              <ac:spMk id="39" creationId="{C527F07C-D619-4C7F-B8C2-E1B1CB33A36A}"/>
            </ac:spMkLst>
          </pc:spChg>
          <pc:spChg chg="add mod">
            <ac:chgData name="JHAE (Jonas Hauschildt Andersen)" userId="1063ffd9-f9e4-41d4-aef8-51079d115919" providerId="ADAL" clId="{D2F4E895-C39D-4245-86FB-0CC5A3F90C1D}" dt="2019-10-20T08:31:50.009" v="747" actId="14100"/>
            <ac:spMkLst>
              <pc:docMk/>
              <pc:sldMasterMk cId="0" sldId="2147483648"/>
              <pc:sldLayoutMk cId="0" sldId="2147483655"/>
              <ac:spMk id="40" creationId="{97E87AFB-CD68-4C6C-8B64-253663851DF5}"/>
            </ac:spMkLst>
          </pc:spChg>
          <pc:spChg chg="mod">
            <ac:chgData name="JHAE (Jonas Hauschildt Andersen)" userId="1063ffd9-f9e4-41d4-aef8-51079d115919" providerId="ADAL" clId="{D2F4E895-C39D-4245-86FB-0CC5A3F90C1D}" dt="2019-10-20T08:32:02.423" v="767" actId="14100"/>
            <ac:spMkLst>
              <pc:docMk/>
              <pc:sldMasterMk cId="0" sldId="2147483648"/>
              <pc:sldLayoutMk cId="0" sldId="2147483655"/>
              <ac:spMk id="41" creationId="{5AD13DAA-787A-4865-A532-7D3746FF3CB9}"/>
            </ac:spMkLst>
          </pc:spChg>
          <pc:spChg chg="mod">
            <ac:chgData name="JHAE (Jonas Hauschildt Andersen)" userId="1063ffd9-f9e4-41d4-aef8-51079d115919" providerId="ADAL" clId="{D2F4E895-C39D-4245-86FB-0CC5A3F90C1D}" dt="2019-10-20T08:29:24.005" v="569" actId="1038"/>
            <ac:spMkLst>
              <pc:docMk/>
              <pc:sldMasterMk cId="0" sldId="2147483648"/>
              <pc:sldLayoutMk cId="0" sldId="2147483655"/>
              <ac:spMk id="42" creationId="{5A7025EA-B503-4E42-B485-2A9AB2294127}"/>
            </ac:spMkLst>
          </pc:spChg>
          <pc:spChg chg="mod">
            <ac:chgData name="JHAE (Jonas Hauschildt Andersen)" userId="1063ffd9-f9e4-41d4-aef8-51079d115919" providerId="ADAL" clId="{D2F4E895-C39D-4245-86FB-0CC5A3F90C1D}" dt="2019-10-20T08:29:20.689" v="567" actId="1076"/>
            <ac:spMkLst>
              <pc:docMk/>
              <pc:sldMasterMk cId="0" sldId="2147483648"/>
              <pc:sldLayoutMk cId="0" sldId="2147483655"/>
              <ac:spMk id="44" creationId="{C6AE6A2E-31E7-4916-BAC2-81B889682577}"/>
            </ac:spMkLst>
          </pc:spChg>
          <pc:spChg chg="add mod">
            <ac:chgData name="JHAE (Jonas Hauschildt Andersen)" userId="1063ffd9-f9e4-41d4-aef8-51079d115919" providerId="ADAL" clId="{D2F4E895-C39D-4245-86FB-0CC5A3F90C1D}" dt="2019-10-20T08:31:55.633" v="766" actId="1036"/>
            <ac:spMkLst>
              <pc:docMk/>
              <pc:sldMasterMk cId="0" sldId="2147483648"/>
              <pc:sldLayoutMk cId="0" sldId="2147483655"/>
              <ac:spMk id="45" creationId="{BAA114A7-41C8-47D2-80AC-68EEFBF85BD1}"/>
            </ac:spMkLst>
          </pc:spChg>
          <pc:spChg chg="add del mod">
            <ac:chgData name="JHAE (Jonas Hauschildt Andersen)" userId="1063ffd9-f9e4-41d4-aef8-51079d115919" providerId="ADAL" clId="{D2F4E895-C39D-4245-86FB-0CC5A3F90C1D}" dt="2019-10-20T08:33:12.658" v="836" actId="478"/>
            <ac:spMkLst>
              <pc:docMk/>
              <pc:sldMasterMk cId="0" sldId="2147483648"/>
              <pc:sldLayoutMk cId="0" sldId="2147483655"/>
              <ac:spMk id="46" creationId="{3C829EE4-F34A-4C4A-91BE-E3A71914E571}"/>
            </ac:spMkLst>
          </pc:spChg>
        </pc:sldLayoutChg>
      </pc:sldMasterChg>
    </pc:docChg>
  </pc:docChgLst>
  <pc:docChgLst>
    <pc:chgData name="JHAE (Jonas Hauschildt Andersen)" userId="1063ffd9-f9e4-41d4-aef8-51079d115919" providerId="ADAL" clId="{44E9C040-7516-4025-A918-9EE0C5B1E646}"/>
    <pc:docChg chg="modSld">
      <pc:chgData name="JHAE (Jonas Hauschildt Andersen)" userId="1063ffd9-f9e4-41d4-aef8-51079d115919" providerId="ADAL" clId="{44E9C040-7516-4025-A918-9EE0C5B1E646}" dt="2020-01-14T20:38:36.653" v="2" actId="5793"/>
      <pc:docMkLst>
        <pc:docMk/>
      </pc:docMkLst>
      <pc:sldChg chg="modSp">
        <pc:chgData name="JHAE (Jonas Hauschildt Andersen)" userId="1063ffd9-f9e4-41d4-aef8-51079d115919" providerId="ADAL" clId="{44E9C040-7516-4025-A918-9EE0C5B1E646}" dt="2020-01-14T20:38:36.653" v="2" actId="5793"/>
        <pc:sldMkLst>
          <pc:docMk/>
          <pc:sldMk cId="1089869312" sldId="260"/>
        </pc:sldMkLst>
        <pc:spChg chg="mod">
          <ac:chgData name="JHAE (Jonas Hauschildt Andersen)" userId="1063ffd9-f9e4-41d4-aef8-51079d115919" providerId="ADAL" clId="{44E9C040-7516-4025-A918-9EE0C5B1E646}" dt="2020-01-14T20:38:36.653" v="2" actId="5793"/>
          <ac:spMkLst>
            <pc:docMk/>
            <pc:sldMk cId="1089869312" sldId="260"/>
            <ac:spMk id="7" creationId="{2AC28D8B-046D-4AC6-9D62-7CE5B51D0C99}"/>
          </ac:spMkLst>
        </pc:spChg>
        <pc:spChg chg="mod">
          <ac:chgData name="JHAE (Jonas Hauschildt Andersen)" userId="1063ffd9-f9e4-41d4-aef8-51079d115919" providerId="ADAL" clId="{44E9C040-7516-4025-A918-9EE0C5B1E646}" dt="2020-01-14T20:38:17.460" v="0" actId="20577"/>
          <ac:spMkLst>
            <pc:docMk/>
            <pc:sldMk cId="1089869312" sldId="260"/>
            <ac:spMk id="11" creationId="{1123449B-03F6-41C9-89F3-B376A9B9861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04/0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04/0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=""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=""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=""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=""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=""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=""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=""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=""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=""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=""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04/0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fontScale="92500"/>
          </a:bodyPr>
          <a:lstStyle/>
          <a:p>
            <a:r>
              <a:rPr lang="da-DK" sz="1200" dirty="0" smtClean="0"/>
              <a:t>Når vi tager brillerne: ”Jeg kender det hele &amp;mangel på tro” på, Så resulterer det nemt i et koldt hjerte. Og der er ingen nysgerrighed og begejstring. Vi er lukkede for forandringer. Jesus kom til </a:t>
            </a:r>
            <a:r>
              <a:rPr lang="da-DK" sz="1200" dirty="0" err="1" smtClean="0"/>
              <a:t>Nazareth</a:t>
            </a:r>
            <a:r>
              <a:rPr lang="da-DK" sz="1200" dirty="0" smtClean="0"/>
              <a:t> (igen) og han kommer også til os, når vi er i den situation. Vil vi tage imod?  </a:t>
            </a:r>
            <a:r>
              <a:rPr lang="da-DK" dirty="0" smtClean="0"/>
              <a:t>Nazaræerne</a:t>
            </a:r>
            <a:r>
              <a:rPr lang="da-DK" sz="1200" dirty="0" smtClean="0"/>
              <a:t> gjorde ikke og Jesus undrede sig over manglen på tro.</a:t>
            </a:r>
            <a:br>
              <a:rPr lang="da-DK" sz="1200" dirty="0" smtClean="0"/>
            </a:br>
            <a:endParaRPr lang="da-DK" sz="1200" dirty="0" smtClean="0"/>
          </a:p>
          <a:p>
            <a:r>
              <a:rPr lang="da-DK" sz="1200" dirty="0" smtClean="0"/>
              <a:t>Thomas var </a:t>
            </a:r>
            <a:r>
              <a:rPr lang="da-DK" sz="1200" dirty="0" smtClean="0"/>
              <a:t>é</a:t>
            </a:r>
            <a:r>
              <a:rPr lang="da-DK" sz="1200" dirty="0" smtClean="0"/>
              <a:t>n blandt mange disciple, der tvivlede. Tvivl er ikke det samme som mangel på tro. </a:t>
            </a:r>
            <a:r>
              <a:rPr lang="da-DK" dirty="0" smtClean="0"/>
              <a:t>Tvivl</a:t>
            </a:r>
            <a:r>
              <a:rPr lang="da-DK" sz="1200" dirty="0" smtClean="0"/>
              <a:t> får os til at søge efter overbevisning og fører til bekendelse og tilbedelse, når vi lader os overbevise: Jesus sagde: ”Tro og tvivl ikke”.</a:t>
            </a:r>
            <a:br>
              <a:rPr lang="da-DK" sz="1200" dirty="0" smtClean="0"/>
            </a:br>
            <a:r>
              <a:rPr lang="da-DK" sz="1200" dirty="0" smtClean="0"/>
              <a:t>Hvis vi tvivler og ikke søger &amp; lader os overbevise så står vi i stampe i ”Tvivls-mudderet” Thomas bad om specifikke beviser og han fik det. Vi kan også søge specifikke svar fra Jesus og få det. Jesus kom, svarede Thomas og Thomas tilbad: Min Herre og min Gud!</a:t>
            </a:r>
            <a:endParaRPr lang="da-DK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 smtClean="0"/>
              <a:t>Mark. 6.1 – 6 og Joh 20.24 - 31</a:t>
            </a:r>
            <a:endParaRPr lang="da-DK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200" dirty="0" smtClean="0"/>
              <a:t>Hvordan ser vores hjerter ud i dag? Er de blevet kolde? Er jeg blevet en af dem, der ved &amp; kender det hele? </a:t>
            </a:r>
          </a:p>
          <a:p>
            <a:r>
              <a:rPr lang="da-DK" dirty="0" smtClean="0"/>
              <a:t>Tvivl leder os til at søge overbevisning. Tvivlen kan drage os tættere til Jesus, så vi ser Ham for den Han er: ”Min Herre </a:t>
            </a:r>
            <a:r>
              <a:rPr lang="da-DK" smtClean="0"/>
              <a:t>og min Gud</a:t>
            </a:r>
            <a:r>
              <a:rPr lang="da-DK" dirty="0" smtClean="0"/>
              <a:t>”</a:t>
            </a:r>
            <a:endParaRPr lang="da-DK" sz="1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r>
              <a:rPr lang="da-DK" sz="1200" dirty="0" smtClean="0"/>
              <a:t>Tal om hvordan jeres hjerter ser ud for tiden. Er de kolde, varme, lunkne, eller…?</a:t>
            </a:r>
            <a:br>
              <a:rPr lang="da-DK" sz="1200" dirty="0" smtClean="0"/>
            </a:br>
            <a:endParaRPr lang="da-DK" sz="1200" dirty="0" smtClean="0"/>
          </a:p>
          <a:p>
            <a:r>
              <a:rPr lang="da-DK" dirty="0" smtClean="0"/>
              <a:t>Del med hinanden om tider med tvivl i jeres liv. Hvordan blev I overbevist?</a:t>
            </a:r>
          </a:p>
          <a:p>
            <a:r>
              <a:rPr lang="da-DK" sz="1200" dirty="0" smtClean="0"/>
              <a:t>Hvad betyder ”Min Herre og min Gud” for dig? I dit liv? Hvordan tilbeder/Proklamerer du?					</a:t>
            </a:r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endParaRPr lang="da-DK" sz="1200" dirty="0"/>
          </a:p>
        </p:txBody>
      </p:sp>
      <p:sp>
        <p:nvSpPr>
          <p:cNvPr id="9" name="Text Placeholder 6">
            <a:extLst>
              <a:ext uri="{FF2B5EF4-FFF2-40B4-BE49-F238E27FC236}">
                <a16:creationId xmlns=""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=""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643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Proklamer hver dag hvem Jesus er for dig f.eks: ”Jesus du er min Herre og min Gud”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AC45015A-B134-4395-9489-136FBDA7DE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99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AC45015A-B134-4395-9489-136FBDA7D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C575736-EA0C-41B6-B652-FC412E924E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24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0D67481-EBE4-4C60-ACDB-1764464B6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/>
              <a:t>EN SULTEN TRO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39C5902-E436-4858-9EA0-C33860D0843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Vi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hvordan</a:t>
            </a:r>
            <a:r>
              <a:rPr lang="en-US" dirty="0"/>
              <a:t> det </a:t>
            </a:r>
            <a:r>
              <a:rPr lang="en-US" dirty="0" err="1"/>
              <a:t>føles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–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at man </a:t>
            </a:r>
            <a:r>
              <a:rPr lang="en-US" dirty="0" err="1"/>
              <a:t>næste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tænk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andet</a:t>
            </a:r>
            <a:r>
              <a:rPr lang="en-US" dirty="0"/>
              <a:t> end </a:t>
            </a:r>
            <a:r>
              <a:rPr lang="en-US" dirty="0" err="1"/>
              <a:t>ens</a:t>
            </a:r>
            <a:r>
              <a:rPr lang="en-US" dirty="0"/>
              <a:t> </a:t>
            </a:r>
            <a:r>
              <a:rPr lang="en-US" dirty="0" err="1"/>
              <a:t>næste</a:t>
            </a:r>
            <a:r>
              <a:rPr lang="en-US" dirty="0"/>
              <a:t> </a:t>
            </a:r>
            <a:r>
              <a:rPr lang="en-US" dirty="0" err="1"/>
              <a:t>måltid</a:t>
            </a:r>
            <a:endParaRPr lang="en-US" dirty="0"/>
          </a:p>
          <a:p>
            <a:r>
              <a:rPr lang="en-US" dirty="0"/>
              <a:t>Men </a:t>
            </a:r>
            <a:r>
              <a:rPr lang="en-US" dirty="0" err="1"/>
              <a:t>sult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ku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ysisk</a:t>
            </a:r>
            <a:r>
              <a:rPr lang="en-US" dirty="0"/>
              <a:t> </a:t>
            </a:r>
            <a:r>
              <a:rPr lang="en-US" dirty="0" err="1"/>
              <a:t>følelse</a:t>
            </a:r>
            <a:r>
              <a:rPr lang="en-US" dirty="0"/>
              <a:t> for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ennesker</a:t>
            </a:r>
            <a:r>
              <a:rPr lang="en-US" dirty="0"/>
              <a:t>, det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åndelig</a:t>
            </a:r>
            <a:r>
              <a:rPr lang="en-US" dirty="0"/>
              <a:t> </a:t>
            </a:r>
            <a:r>
              <a:rPr lang="en-US" dirty="0" err="1"/>
              <a:t>tilstand</a:t>
            </a:r>
            <a:r>
              <a:rPr lang="en-US" dirty="0"/>
              <a:t>. </a:t>
            </a:r>
          </a:p>
          <a:p>
            <a:r>
              <a:rPr lang="en-US" dirty="0"/>
              <a:t>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åndeligt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for det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Gud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fter</a:t>
            </a:r>
            <a:r>
              <a:rPr lang="en-US" dirty="0"/>
              <a:t>.</a:t>
            </a:r>
          </a:p>
          <a:p>
            <a:r>
              <a:rPr lang="en-US" dirty="0"/>
              <a:t>At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ulten</a:t>
            </a:r>
            <a:r>
              <a:rPr lang="en-US" dirty="0"/>
              <a:t> </a:t>
            </a:r>
            <a:r>
              <a:rPr lang="en-US" dirty="0" err="1"/>
              <a:t>efter</a:t>
            </a:r>
            <a:r>
              <a:rPr lang="en-US" dirty="0"/>
              <a:t> </a:t>
            </a:r>
            <a:r>
              <a:rPr lang="en-US" dirty="0" err="1"/>
              <a:t>Guds</a:t>
            </a:r>
            <a:r>
              <a:rPr lang="en-US" dirty="0"/>
              <a:t> </a:t>
            </a:r>
            <a:r>
              <a:rPr lang="en-US" dirty="0" err="1"/>
              <a:t>rige</a:t>
            </a:r>
            <a:r>
              <a:rPr lang="en-US" dirty="0"/>
              <a:t>, </a:t>
            </a:r>
            <a:r>
              <a:rPr lang="en-US" dirty="0" err="1"/>
              <a:t>betyder</a:t>
            </a:r>
            <a:r>
              <a:rPr lang="en-US" dirty="0"/>
              <a:t> at man har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ni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Guds</a:t>
            </a:r>
            <a:r>
              <a:rPr lang="en-US" dirty="0"/>
              <a:t> </a:t>
            </a:r>
            <a:r>
              <a:rPr lang="en-US" dirty="0" err="1"/>
              <a:t>indgriben</a:t>
            </a:r>
            <a:r>
              <a:rPr lang="en-US" dirty="0"/>
              <a:t> I </a:t>
            </a:r>
            <a:r>
              <a:rPr lang="en-US" dirty="0" err="1"/>
              <a:t>vores</a:t>
            </a:r>
            <a:r>
              <a:rPr lang="en-US" dirty="0"/>
              <a:t> liv – </a:t>
            </a:r>
            <a:r>
              <a:rPr lang="en-US" dirty="0" err="1"/>
              <a:t>såvel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for </a:t>
            </a:r>
            <a:r>
              <a:rPr lang="en-US" dirty="0" err="1"/>
              <a:t>vores</a:t>
            </a:r>
            <a:r>
              <a:rPr lang="en-US" dirty="0"/>
              <a:t> </a:t>
            </a:r>
            <a:r>
              <a:rPr lang="en-US" dirty="0" err="1"/>
              <a:t>næstes</a:t>
            </a:r>
            <a:r>
              <a:rPr lang="en-US" dirty="0"/>
              <a:t> liv! </a:t>
            </a:r>
          </a:p>
          <a:p>
            <a:r>
              <a:rPr lang="en-US" dirty="0"/>
              <a:t>Det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denne</a:t>
            </a:r>
            <a:r>
              <a:rPr lang="en-US" dirty="0"/>
              <a:t> </a:t>
            </a:r>
            <a:r>
              <a:rPr lang="en-US" dirty="0" err="1"/>
              <a:t>sult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lede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mod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ing</a:t>
            </a:r>
            <a:r>
              <a:rPr lang="en-US" dirty="0"/>
              <a:t> om “mere” end </a:t>
            </a:r>
            <a:r>
              <a:rPr lang="en-US" dirty="0" err="1"/>
              <a:t>hvad</a:t>
            </a:r>
            <a:r>
              <a:rPr lang="en-US" dirty="0"/>
              <a:t> </a:t>
            </a:r>
            <a:r>
              <a:rPr lang="en-US" dirty="0" err="1"/>
              <a:t>hverdagen</a:t>
            </a:r>
            <a:r>
              <a:rPr lang="en-US" dirty="0"/>
              <a:t> </a:t>
            </a:r>
            <a:r>
              <a:rPr lang="en-US" dirty="0" err="1"/>
              <a:t>byde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I </a:t>
            </a:r>
            <a:r>
              <a:rPr lang="en-US" dirty="0" err="1"/>
              <a:t>dag</a:t>
            </a:r>
            <a:r>
              <a:rPr lang="en-US" dirty="0"/>
              <a:t>.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orventing</a:t>
            </a:r>
            <a:r>
              <a:rPr lang="en-US" dirty="0"/>
              <a:t> om at </a:t>
            </a:r>
            <a:r>
              <a:rPr lang="en-US" dirty="0" err="1"/>
              <a:t>Guds</a:t>
            </a:r>
            <a:r>
              <a:rPr lang="en-US" dirty="0"/>
              <a:t> planer for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overstiger</a:t>
            </a:r>
            <a:r>
              <a:rPr lang="en-US" dirty="0"/>
              <a:t> </a:t>
            </a:r>
            <a:r>
              <a:rPr lang="en-US" dirty="0" err="1"/>
              <a:t>vores</a:t>
            </a:r>
            <a:r>
              <a:rPr lang="en-US" dirty="0"/>
              <a:t> </a:t>
            </a:r>
            <a:r>
              <a:rPr lang="en-US" dirty="0" err="1"/>
              <a:t>vildeste</a:t>
            </a:r>
            <a:r>
              <a:rPr lang="en-US" dirty="0"/>
              <a:t> </a:t>
            </a:r>
            <a:r>
              <a:rPr lang="en-US" dirty="0" err="1"/>
              <a:t>forventinger</a:t>
            </a:r>
            <a:r>
              <a:rPr lang="en-US" dirty="0"/>
              <a:t>.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BAB968E-3FD5-4C0A-A6FF-1A4D21A62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MATT. 5:6, Markus 8:2</a:t>
            </a:r>
          </a:p>
          <a:p>
            <a:r>
              <a:rPr lang="da-DK" i="1" dirty="0"/>
              <a:t>Salige er de, som hungrer og tørster efter retfærdigheden, for de skal mættes.</a:t>
            </a:r>
          </a:p>
          <a:p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6D280F4A-D407-4DF8-BE86-D0E508C607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Vi kan forvente at Guds planer for os overstiger vores vildeste forventninger</a:t>
            </a:r>
          </a:p>
          <a:p>
            <a:r>
              <a:rPr lang="da-DK" dirty="0"/>
              <a:t>Hans planer er måske ikke som vi forventer, men Han ved præcis hvad vi har behov f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3E7B737B-67C8-4DEE-82A5-74E649CE1B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200" dirty="0"/>
              <a:t>Gud bruger sultne, desperate mennesker til at fuldføre hans planer – men hverdagen kan kvæle den desperation. Hvordan kan vi bekæmpe det?</a:t>
            </a:r>
          </a:p>
          <a:p>
            <a:r>
              <a:rPr lang="da-DK" sz="1200" dirty="0"/>
              <a:t>Hvad er din motivation for at kultivere en sult for Gud? Hvordan kan du kultivere en sult?</a:t>
            </a:r>
          </a:p>
          <a:p>
            <a:endParaRPr lang="da-DK" sz="1200" dirty="0"/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AC28D8B-046D-4AC6-9D62-7CE5B51D0C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Bed for at vores ‘sult’ må øges</a:t>
            </a:r>
          </a:p>
          <a:p>
            <a:r>
              <a:rPr lang="da-DK" dirty="0"/>
              <a:t>Bed for telt møde i </a:t>
            </a:r>
            <a:r>
              <a:rPr lang="da-DK" dirty="0" err="1"/>
              <a:t>Kær’ene</a:t>
            </a:r>
            <a:endParaRPr lang="da-DK" dirty="0"/>
          </a:p>
          <a:p>
            <a:r>
              <a:rPr lang="da-DK" dirty="0"/>
              <a:t>Næste søndag taler Sven Straarup</a:t>
            </a: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="" xmlns:a16="http://schemas.microsoft.com/office/drawing/2014/main" id="{D83E5A73-28F4-4584-87AB-1A00F2DC0180}"/>
              </a:ext>
            </a:extLst>
          </p:cNvPr>
          <p:cNvSpPr/>
          <p:nvPr/>
        </p:nvSpPr>
        <p:spPr>
          <a:xfrm rot="19963466">
            <a:off x="5165316" y="1144108"/>
            <a:ext cx="3803374" cy="925272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5400" b="1" dirty="0">
                <a:solidFill>
                  <a:schemeClr val="accent1"/>
                </a:solidFill>
              </a:rPr>
              <a:t>SAMP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="" xmlns:a16="http://schemas.microsoft.com/office/drawing/2014/main" id="{1123449B-03F6-41C9-89F3-B376A9B98613}"/>
              </a:ext>
            </a:extLst>
          </p:cNvPr>
          <p:cNvSpPr txBox="1">
            <a:spLocks/>
          </p:cNvSpPr>
          <p:nvPr/>
        </p:nvSpPr>
        <p:spPr>
          <a:xfrm>
            <a:off x="7243453" y="3892158"/>
            <a:ext cx="4768651" cy="975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  <a:p>
            <a:r>
              <a:rPr lang="da-DK" dirty="0"/>
              <a:t>Sæt 15 min til side hver dag i den kommende uge til at bede om 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89869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jQy1myqu1Ka2MlHoX3WQ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448</Words>
  <Application>Microsoft Macintosh PowerPoint</Application>
  <PresentationFormat>Custom</PresentationFormat>
  <Paragraphs>27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Wisp</vt:lpstr>
      <vt:lpstr>think-cell Slide</vt:lpstr>
      <vt:lpstr>PowerPoint Presentation</vt:lpstr>
      <vt:lpstr>EN SULTEN TRO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admin</cp:lastModifiedBy>
  <cp:revision>11</cp:revision>
  <dcterms:created xsi:type="dcterms:W3CDTF">2019-08-19T18:08:22Z</dcterms:created>
  <dcterms:modified xsi:type="dcterms:W3CDTF">2023-07-04T17:2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